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693" r:id="rId7"/>
    <p:sldId id="706" r:id="rId8"/>
    <p:sldId id="707" r:id="rId9"/>
    <p:sldId id="704" r:id="rId10"/>
    <p:sldId id="695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6"/>
            <p14:sldId id="707"/>
            <p14:sldId id="70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72911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6220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Logical operators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rithmetic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818469"/>
            <a:ext cx="11335407" cy="3618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sider the following arithmetic operators: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ddition (+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ubtraction (-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ultiplication (*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vision (/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ponentiation (or Powers) (**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odulo (%)</a:t>
            </a:r>
          </a:p>
        </p:txBody>
      </p:sp>
    </p:spTree>
    <p:extLst>
      <p:ext uri="{BB962C8B-B14F-4D97-AF65-F5344CB8AC3E}">
        <p14:creationId xmlns:p14="http://schemas.microsoft.com/office/powerpoint/2010/main" val="262574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mparison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219380"/>
            <a:ext cx="11335407" cy="5131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he following are comparison operators in python:</a:t>
            </a:r>
            <a:endParaRPr lang="en-US" sz="24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double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 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not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=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=</a:t>
            </a:r>
          </a:p>
        </p:txBody>
      </p:sp>
    </p:spTree>
    <p:extLst>
      <p:ext uri="{BB962C8B-B14F-4D97-AF65-F5344CB8AC3E}">
        <p14:creationId xmlns:p14="http://schemas.microsoft.com/office/powerpoint/2010/main" val="374836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ogical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298207"/>
            <a:ext cx="11335407" cy="3638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ogical operators test whether two expressions are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re are three types of logical operators namely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- This operator returns a 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when it encounters a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ditio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This operator returns a 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en it encounters at least a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ditio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This operator return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f the condition i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f the condition i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8</TotalTime>
  <Words>150</Words>
  <Application>Microsoft Office PowerPoint</Application>
  <PresentationFormat>Widescreen</PresentationFormat>
  <Paragraphs>26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Gotham Light</vt:lpstr>
      <vt:lpstr>Lato Light</vt:lpstr>
      <vt:lpstr>Symbol</vt:lpstr>
      <vt:lpstr>Wingdings</vt:lpstr>
      <vt:lpstr>1_Office Theme</vt:lpstr>
      <vt:lpstr>2_Office Theme</vt:lpstr>
      <vt:lpstr>think-cell Slide</vt:lpstr>
      <vt:lpstr>Introduction to Programming in Python</vt:lpstr>
      <vt:lpstr>Logical operators in Pyth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41</cp:revision>
  <dcterms:created xsi:type="dcterms:W3CDTF">2020-03-16T19:15:12Z</dcterms:created>
  <dcterms:modified xsi:type="dcterms:W3CDTF">2021-05-13T17:4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